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6"/>
  </p:notesMasterIdLst>
  <p:sldIdLst>
    <p:sldId id="393" r:id="rId5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A3F777-A461-4B6E-8E5C-2DE0D845E347}" v="15" dt="2021-10-01T16:40:09.6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74" d="100"/>
          <a:sy n="74" d="100"/>
        </p:scale>
        <p:origin x="120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erry Vasquez" userId="b9e7f3378a8ce77e" providerId="LiveId" clId="{9EA3F777-A461-4B6E-8E5C-2DE0D845E347}"/>
    <pc:docChg chg="undo custSel modSld">
      <pc:chgData name="Sherry Vasquez" userId="b9e7f3378a8ce77e" providerId="LiveId" clId="{9EA3F777-A461-4B6E-8E5C-2DE0D845E347}" dt="2021-10-01T16:40:51.145" v="677" actId="20577"/>
      <pc:docMkLst>
        <pc:docMk/>
      </pc:docMkLst>
      <pc:sldChg chg="addSp delSp modSp mod">
        <pc:chgData name="Sherry Vasquez" userId="b9e7f3378a8ce77e" providerId="LiveId" clId="{9EA3F777-A461-4B6E-8E5C-2DE0D845E347}" dt="2021-10-01T16:40:51.145" v="677" actId="20577"/>
        <pc:sldMkLst>
          <pc:docMk/>
          <pc:sldMk cId="2825041569" sldId="393"/>
        </pc:sldMkLst>
        <pc:spChg chg="mod">
          <ac:chgData name="Sherry Vasquez" userId="b9e7f3378a8ce77e" providerId="LiveId" clId="{9EA3F777-A461-4B6E-8E5C-2DE0D845E347}" dt="2021-10-01T16:21:43.469" v="15" actId="20577"/>
          <ac:spMkLst>
            <pc:docMk/>
            <pc:sldMk cId="2825041569" sldId="393"/>
            <ac:spMk id="2" creationId="{F0E37C96-13BD-4F0C-B379-77591A183D9B}"/>
          </ac:spMkLst>
        </pc:spChg>
        <pc:spChg chg="mod">
          <ac:chgData name="Sherry Vasquez" userId="b9e7f3378a8ce77e" providerId="LiveId" clId="{9EA3F777-A461-4B6E-8E5C-2DE0D845E347}" dt="2021-10-01T16:24:28.262" v="186" actId="1076"/>
          <ac:spMkLst>
            <pc:docMk/>
            <pc:sldMk cId="2825041569" sldId="393"/>
            <ac:spMk id="3" creationId="{F7CC8F6F-F722-4F6F-8BAB-BAAF3438C6A2}"/>
          </ac:spMkLst>
        </pc:spChg>
        <pc:spChg chg="mod">
          <ac:chgData name="Sherry Vasquez" userId="b9e7f3378a8ce77e" providerId="LiveId" clId="{9EA3F777-A461-4B6E-8E5C-2DE0D845E347}" dt="2021-10-01T16:28:11.219" v="291" actId="14100"/>
          <ac:spMkLst>
            <pc:docMk/>
            <pc:sldMk cId="2825041569" sldId="393"/>
            <ac:spMk id="5" creationId="{BE6D86FE-D8F1-40C0-8751-D4F20FB58738}"/>
          </ac:spMkLst>
        </pc:spChg>
        <pc:spChg chg="mod">
          <ac:chgData name="Sherry Vasquez" userId="b9e7f3378a8ce77e" providerId="LiveId" clId="{9EA3F777-A461-4B6E-8E5C-2DE0D845E347}" dt="2021-10-01T16:39:07.411" v="602" actId="255"/>
          <ac:spMkLst>
            <pc:docMk/>
            <pc:sldMk cId="2825041569" sldId="393"/>
            <ac:spMk id="6" creationId="{A62C49D4-82EC-4578-A00C-A6CC31BD214D}"/>
          </ac:spMkLst>
        </pc:spChg>
        <pc:spChg chg="add mod">
          <ac:chgData name="Sherry Vasquez" userId="b9e7f3378a8ce77e" providerId="LiveId" clId="{9EA3F777-A461-4B6E-8E5C-2DE0D845E347}" dt="2021-10-01T16:40:51.145" v="677" actId="20577"/>
          <ac:spMkLst>
            <pc:docMk/>
            <pc:sldMk cId="2825041569" sldId="393"/>
            <ac:spMk id="12" creationId="{72F798F7-D91C-4243-8A78-F57A3845FB82}"/>
          </ac:spMkLst>
        </pc:spChg>
        <pc:spChg chg="mod">
          <ac:chgData name="Sherry Vasquez" userId="b9e7f3378a8ce77e" providerId="LiveId" clId="{9EA3F777-A461-4B6E-8E5C-2DE0D845E347}" dt="2021-10-01T16:28:53.429" v="302" actId="1076"/>
          <ac:spMkLst>
            <pc:docMk/>
            <pc:sldMk cId="2825041569" sldId="393"/>
            <ac:spMk id="24" creationId="{67987464-1BC8-47B3-8E49-660CBBA650B6}"/>
          </ac:spMkLst>
        </pc:spChg>
        <pc:spChg chg="mod">
          <ac:chgData name="Sherry Vasquez" userId="b9e7f3378a8ce77e" providerId="LiveId" clId="{9EA3F777-A461-4B6E-8E5C-2DE0D845E347}" dt="2021-10-01T16:29:33.675" v="363" actId="20577"/>
          <ac:spMkLst>
            <pc:docMk/>
            <pc:sldMk cId="2825041569" sldId="393"/>
            <ac:spMk id="25" creationId="{4B4E9F8B-31BA-4E4E-84E7-360424AB2B99}"/>
          </ac:spMkLst>
        </pc:spChg>
        <pc:spChg chg="add mod">
          <ac:chgData name="Sherry Vasquez" userId="b9e7f3378a8ce77e" providerId="LiveId" clId="{9EA3F777-A461-4B6E-8E5C-2DE0D845E347}" dt="2021-10-01T16:22:39.148" v="69" actId="20577"/>
          <ac:spMkLst>
            <pc:docMk/>
            <pc:sldMk cId="2825041569" sldId="393"/>
            <ac:spMk id="30" creationId="{0744EAD5-4955-404D-9699-D296FAC46CDA}"/>
          </ac:spMkLst>
        </pc:spChg>
        <pc:spChg chg="add del mod">
          <ac:chgData name="Sherry Vasquez" userId="b9e7f3378a8ce77e" providerId="LiveId" clId="{9EA3F777-A461-4B6E-8E5C-2DE0D845E347}" dt="2021-10-01T16:22:48.289" v="71"/>
          <ac:spMkLst>
            <pc:docMk/>
            <pc:sldMk cId="2825041569" sldId="393"/>
            <ac:spMk id="31" creationId="{6A086EFE-0CCE-4DB4-866C-59AB2E8ACE92}"/>
          </ac:spMkLst>
        </pc:spChg>
        <pc:spChg chg="mod">
          <ac:chgData name="Sherry Vasquez" userId="b9e7f3378a8ce77e" providerId="LiveId" clId="{9EA3F777-A461-4B6E-8E5C-2DE0D845E347}" dt="2021-10-01T16:28:56.820" v="303" actId="1076"/>
          <ac:spMkLst>
            <pc:docMk/>
            <pc:sldMk cId="2825041569" sldId="393"/>
            <ac:spMk id="32" creationId="{5D5EBDE0-AA51-4865-9FF5-44A227DF97C9}"/>
          </ac:spMkLst>
        </pc:spChg>
        <pc:spChg chg="mod">
          <ac:chgData name="Sherry Vasquez" userId="b9e7f3378a8ce77e" providerId="LiveId" clId="{9EA3F777-A461-4B6E-8E5C-2DE0D845E347}" dt="2021-10-01T16:29:50.420" v="399" actId="20577"/>
          <ac:spMkLst>
            <pc:docMk/>
            <pc:sldMk cId="2825041569" sldId="393"/>
            <ac:spMk id="33" creationId="{457A1530-DC83-408B-8648-E120B58931BA}"/>
          </ac:spMkLst>
        </pc:spChg>
        <pc:spChg chg="mod">
          <ac:chgData name="Sherry Vasquez" userId="b9e7f3378a8ce77e" providerId="LiveId" clId="{9EA3F777-A461-4B6E-8E5C-2DE0D845E347}" dt="2021-10-01T16:31:24.725" v="589" actId="1076"/>
          <ac:spMkLst>
            <pc:docMk/>
            <pc:sldMk cId="2825041569" sldId="393"/>
            <ac:spMk id="34" creationId="{3441AA68-E318-484B-B29B-91FD0369EB84}"/>
          </ac:spMkLst>
        </pc:spChg>
        <pc:spChg chg="add del mod">
          <ac:chgData name="Sherry Vasquez" userId="b9e7f3378a8ce77e" providerId="LiveId" clId="{9EA3F777-A461-4B6E-8E5C-2DE0D845E347}" dt="2021-10-01T16:22:53.645" v="73"/>
          <ac:spMkLst>
            <pc:docMk/>
            <pc:sldMk cId="2825041569" sldId="393"/>
            <ac:spMk id="35" creationId="{65FC3428-8818-47C3-B1D4-C64FF1066F2C}"/>
          </ac:spMkLst>
        </pc:spChg>
        <pc:spChg chg="mod">
          <ac:chgData name="Sherry Vasquez" userId="b9e7f3378a8ce77e" providerId="LiveId" clId="{9EA3F777-A461-4B6E-8E5C-2DE0D845E347}" dt="2021-10-01T16:39:18.311" v="604" actId="255"/>
          <ac:spMkLst>
            <pc:docMk/>
            <pc:sldMk cId="2825041569" sldId="393"/>
            <ac:spMk id="36" creationId="{31130DA0-F302-4CF0-8361-CB3677DBB715}"/>
          </ac:spMkLst>
        </pc:spChg>
        <pc:spChg chg="add mod">
          <ac:chgData name="Sherry Vasquez" userId="b9e7f3378a8ce77e" providerId="LiveId" clId="{9EA3F777-A461-4B6E-8E5C-2DE0D845E347}" dt="2021-10-01T16:23:36.404" v="123" actId="20577"/>
          <ac:spMkLst>
            <pc:docMk/>
            <pc:sldMk cId="2825041569" sldId="393"/>
            <ac:spMk id="38" creationId="{BE58BAEE-7817-4534-AE13-03D3F03FEC4C}"/>
          </ac:spMkLst>
        </pc:spChg>
        <pc:spChg chg="mod">
          <ac:chgData name="Sherry Vasquez" userId="b9e7f3378a8ce77e" providerId="LiveId" clId="{9EA3F777-A461-4B6E-8E5C-2DE0D845E347}" dt="2021-10-01T16:31:29.898" v="591" actId="1076"/>
          <ac:spMkLst>
            <pc:docMk/>
            <pc:sldMk cId="2825041569" sldId="393"/>
            <ac:spMk id="40" creationId="{5C4D64FD-5C62-45E9-858E-546F1AECB6C5}"/>
          </ac:spMkLst>
        </pc:spChg>
        <pc:spChg chg="add mod">
          <ac:chgData name="Sherry Vasquez" userId="b9e7f3378a8ce77e" providerId="LiveId" clId="{9EA3F777-A461-4B6E-8E5C-2DE0D845E347}" dt="2021-10-01T16:38:55.443" v="600" actId="255"/>
          <ac:spMkLst>
            <pc:docMk/>
            <pc:sldMk cId="2825041569" sldId="393"/>
            <ac:spMk id="41" creationId="{43CE3FF6-2DFD-40B0-87A4-A9A5486FB04B}"/>
          </ac:spMkLst>
        </pc:spChg>
        <pc:spChg chg="mod">
          <ac:chgData name="Sherry Vasquez" userId="b9e7f3378a8ce77e" providerId="LiveId" clId="{9EA3F777-A461-4B6E-8E5C-2DE0D845E347}" dt="2021-10-01T16:39:48.079" v="608" actId="255"/>
          <ac:spMkLst>
            <pc:docMk/>
            <pc:sldMk cId="2825041569" sldId="393"/>
            <ac:spMk id="42" creationId="{ABCC00AA-7819-4FD2-BA28-F71657D39EA4}"/>
          </ac:spMkLst>
        </pc:spChg>
        <pc:spChg chg="add mod">
          <ac:chgData name="Sherry Vasquez" userId="b9e7f3378a8ce77e" providerId="LiveId" clId="{9EA3F777-A461-4B6E-8E5C-2DE0D845E347}" dt="2021-10-01T16:24:38.088" v="201" actId="20577"/>
          <ac:spMkLst>
            <pc:docMk/>
            <pc:sldMk cId="2825041569" sldId="393"/>
            <ac:spMk id="43" creationId="{8956AD49-1A22-400A-B77B-3EB3815CFDE5}"/>
          </ac:spMkLst>
        </pc:spChg>
        <pc:spChg chg="mod">
          <ac:chgData name="Sherry Vasquez" userId="b9e7f3378a8ce77e" providerId="LiveId" clId="{9EA3F777-A461-4B6E-8E5C-2DE0D845E347}" dt="2021-10-01T16:22:06.168" v="36" actId="20577"/>
          <ac:spMkLst>
            <pc:docMk/>
            <pc:sldMk cId="2825041569" sldId="393"/>
            <ac:spMk id="44" creationId="{95B8C019-47BE-4B43-B41C-4FCEAA2CC419}"/>
          </ac:spMkLst>
        </pc:spChg>
        <pc:spChg chg="mod">
          <ac:chgData name="Sherry Vasquez" userId="b9e7f3378a8ce77e" providerId="LiveId" clId="{9EA3F777-A461-4B6E-8E5C-2DE0D845E347}" dt="2021-10-01T16:22:21.102" v="58" actId="20577"/>
          <ac:spMkLst>
            <pc:docMk/>
            <pc:sldMk cId="2825041569" sldId="393"/>
            <ac:spMk id="45" creationId="{BB7C6221-E9EB-41A4-9AA7-0C7502ADEDE6}"/>
          </ac:spMkLst>
        </pc:spChg>
        <pc:spChg chg="mod">
          <ac:chgData name="Sherry Vasquez" userId="b9e7f3378a8ce77e" providerId="LiveId" clId="{9EA3F777-A461-4B6E-8E5C-2DE0D845E347}" dt="2021-10-01T16:31:00.861" v="553" actId="20577"/>
          <ac:spMkLst>
            <pc:docMk/>
            <pc:sldMk cId="2825041569" sldId="393"/>
            <ac:spMk id="46" creationId="{309A608E-B44E-4CD9-B18B-EF3483009025}"/>
          </ac:spMkLst>
        </pc:spChg>
        <pc:spChg chg="add mod">
          <ac:chgData name="Sherry Vasquez" userId="b9e7f3378a8ce77e" providerId="LiveId" clId="{9EA3F777-A461-4B6E-8E5C-2DE0D845E347}" dt="2021-10-01T16:24:48.706" v="207" actId="1076"/>
          <ac:spMkLst>
            <pc:docMk/>
            <pc:sldMk cId="2825041569" sldId="393"/>
            <ac:spMk id="47" creationId="{CEBAD952-57D6-4CE7-AF37-7FE2FF097E77}"/>
          </ac:spMkLst>
        </pc:spChg>
        <pc:spChg chg="mod">
          <ac:chgData name="Sherry Vasquez" userId="b9e7f3378a8ce77e" providerId="LiveId" clId="{9EA3F777-A461-4B6E-8E5C-2DE0D845E347}" dt="2021-10-01T16:31:41.125" v="593" actId="1076"/>
          <ac:spMkLst>
            <pc:docMk/>
            <pc:sldMk cId="2825041569" sldId="393"/>
            <ac:spMk id="48" creationId="{D1D5D580-4FC2-465A-8090-AC4306ACAF07}"/>
          </ac:spMkLst>
        </pc:spChg>
        <pc:spChg chg="del mod">
          <ac:chgData name="Sherry Vasquez" userId="b9e7f3378a8ce77e" providerId="LiveId" clId="{9EA3F777-A461-4B6E-8E5C-2DE0D845E347}" dt="2021-10-01T16:24:54.996" v="209" actId="478"/>
          <ac:spMkLst>
            <pc:docMk/>
            <pc:sldMk cId="2825041569" sldId="393"/>
            <ac:spMk id="49" creationId="{7D8877A8-B79B-451E-9282-EF06063653D9}"/>
          </ac:spMkLst>
        </pc:spChg>
        <pc:spChg chg="del mod">
          <ac:chgData name="Sherry Vasquez" userId="b9e7f3378a8ce77e" providerId="LiveId" clId="{9EA3F777-A461-4B6E-8E5C-2DE0D845E347}" dt="2021-10-01T16:25:21.832" v="214" actId="478"/>
          <ac:spMkLst>
            <pc:docMk/>
            <pc:sldMk cId="2825041569" sldId="393"/>
            <ac:spMk id="50" creationId="{6F4F94F5-9AB0-4A03-B1F0-397C721C8473}"/>
          </ac:spMkLst>
        </pc:spChg>
        <pc:spChg chg="del">
          <ac:chgData name="Sherry Vasquez" userId="b9e7f3378a8ce77e" providerId="LiveId" clId="{9EA3F777-A461-4B6E-8E5C-2DE0D845E347}" dt="2021-10-01T16:25:31.038" v="217" actId="478"/>
          <ac:spMkLst>
            <pc:docMk/>
            <pc:sldMk cId="2825041569" sldId="393"/>
            <ac:spMk id="51" creationId="{2A9AFC25-7290-4912-A14D-4439454A9CA0}"/>
          </ac:spMkLst>
        </pc:spChg>
        <pc:spChg chg="add mod">
          <ac:chgData name="Sherry Vasquez" userId="b9e7f3378a8ce77e" providerId="LiveId" clId="{9EA3F777-A461-4B6E-8E5C-2DE0D845E347}" dt="2021-10-01T16:26:05.962" v="224" actId="1076"/>
          <ac:spMkLst>
            <pc:docMk/>
            <pc:sldMk cId="2825041569" sldId="393"/>
            <ac:spMk id="52" creationId="{00D64688-D716-4A75-9B81-5387B95CF710}"/>
          </ac:spMkLst>
        </pc:spChg>
        <pc:spChg chg="add mod">
          <ac:chgData name="Sherry Vasquez" userId="b9e7f3378a8ce77e" providerId="LiveId" clId="{9EA3F777-A461-4B6E-8E5C-2DE0D845E347}" dt="2021-10-01T16:26:26.260" v="228" actId="1076"/>
          <ac:spMkLst>
            <pc:docMk/>
            <pc:sldMk cId="2825041569" sldId="393"/>
            <ac:spMk id="53" creationId="{3B449628-E73F-47D5-A1E5-6CBBF72ED028}"/>
          </ac:spMkLst>
        </pc:spChg>
        <pc:spChg chg="add mod">
          <ac:chgData name="Sherry Vasquez" userId="b9e7f3378a8ce77e" providerId="LiveId" clId="{9EA3F777-A461-4B6E-8E5C-2DE0D845E347}" dt="2021-10-01T16:28:59.573" v="304" actId="1076"/>
          <ac:spMkLst>
            <pc:docMk/>
            <pc:sldMk cId="2825041569" sldId="393"/>
            <ac:spMk id="54" creationId="{63AB2488-3E3E-4811-A8A6-51DDB0B632A4}"/>
          </ac:spMkLst>
        </pc:spChg>
        <pc:spChg chg="add mod">
          <ac:chgData name="Sherry Vasquez" userId="b9e7f3378a8ce77e" providerId="LiveId" clId="{9EA3F777-A461-4B6E-8E5C-2DE0D845E347}" dt="2021-10-01T16:29:05.564" v="306" actId="1076"/>
          <ac:spMkLst>
            <pc:docMk/>
            <pc:sldMk cId="2825041569" sldId="393"/>
            <ac:spMk id="55" creationId="{9043171E-7BEB-4296-8CCD-7ED8B8F60E7C}"/>
          </ac:spMkLst>
        </pc:spChg>
        <pc:cxnChg chg="del mod">
          <ac:chgData name="Sherry Vasquez" userId="b9e7f3378a8ce77e" providerId="LiveId" clId="{9EA3F777-A461-4B6E-8E5C-2DE0D845E347}" dt="2021-10-01T16:24:59.444" v="211" actId="478"/>
          <ac:cxnSpMkLst>
            <pc:docMk/>
            <pc:sldMk cId="2825041569" sldId="393"/>
            <ac:cxnSpMk id="8" creationId="{CAB0563B-8DE3-4C6D-A2EB-E25B76303051}"/>
          </ac:cxnSpMkLst>
        </pc:cxnChg>
        <pc:cxnChg chg="del mod">
          <ac:chgData name="Sherry Vasquez" userId="b9e7f3378a8ce77e" providerId="LiveId" clId="{9EA3F777-A461-4B6E-8E5C-2DE0D845E347}" dt="2021-10-01T16:24:57.465" v="210" actId="478"/>
          <ac:cxnSpMkLst>
            <pc:docMk/>
            <pc:sldMk cId="2825041569" sldId="393"/>
            <ac:cxnSpMk id="10" creationId="{F8D9E771-BBE9-4B75-98EC-7C6E822CB83A}"/>
          </ac:cxnSpMkLst>
        </pc:cxnChg>
        <pc:cxnChg chg="add mod">
          <ac:chgData name="Sherry Vasquez" userId="b9e7f3378a8ce77e" providerId="LiveId" clId="{9EA3F777-A461-4B6E-8E5C-2DE0D845E347}" dt="2021-10-01T16:33:23.681" v="598" actId="1076"/>
          <ac:cxnSpMkLst>
            <pc:docMk/>
            <pc:sldMk cId="2825041569" sldId="393"/>
            <ac:cxnSpMk id="11" creationId="{C59EC344-8AC7-47F5-BB08-FE48A81F978C}"/>
          </ac:cxnSpMkLst>
        </pc:cxnChg>
        <pc:cxnChg chg="del mod">
          <ac:chgData name="Sherry Vasquez" userId="b9e7f3378a8ce77e" providerId="LiveId" clId="{9EA3F777-A461-4B6E-8E5C-2DE0D845E347}" dt="2021-10-01T16:25:03.167" v="212" actId="478"/>
          <ac:cxnSpMkLst>
            <pc:docMk/>
            <pc:sldMk cId="2825041569" sldId="393"/>
            <ac:cxnSpMk id="14" creationId="{C67E6D25-4BC9-4986-84B0-B6D42CE8AF60}"/>
          </ac:cxnSpMkLst>
        </pc:cxnChg>
        <pc:cxnChg chg="del mod">
          <ac:chgData name="Sherry Vasquez" userId="b9e7f3378a8ce77e" providerId="LiveId" clId="{9EA3F777-A461-4B6E-8E5C-2DE0D845E347}" dt="2021-10-01T16:25:38.160" v="220" actId="478"/>
          <ac:cxnSpMkLst>
            <pc:docMk/>
            <pc:sldMk cId="2825041569" sldId="393"/>
            <ac:cxnSpMk id="19" creationId="{31CF5882-3E68-499F-AA7A-3A03FA5F5149}"/>
          </ac:cxnSpMkLst>
        </pc:cxnChg>
        <pc:cxnChg chg="del mod">
          <ac:chgData name="Sherry Vasquez" userId="b9e7f3378a8ce77e" providerId="LiveId" clId="{9EA3F777-A461-4B6E-8E5C-2DE0D845E347}" dt="2021-10-01T16:25:32.661" v="218" actId="478"/>
          <ac:cxnSpMkLst>
            <pc:docMk/>
            <pc:sldMk cId="2825041569" sldId="393"/>
            <ac:cxnSpMk id="21" creationId="{BC1DE5A2-609D-43DC-BE36-0EDE071B9D74}"/>
          </ac:cxnSpMkLst>
        </pc:cxnChg>
        <pc:cxnChg chg="del mod">
          <ac:chgData name="Sherry Vasquez" userId="b9e7f3378a8ce77e" providerId="LiveId" clId="{9EA3F777-A461-4B6E-8E5C-2DE0D845E347}" dt="2021-10-01T16:25:35.322" v="219" actId="478"/>
          <ac:cxnSpMkLst>
            <pc:docMk/>
            <pc:sldMk cId="2825041569" sldId="393"/>
            <ac:cxnSpMk id="23" creationId="{4E0BF173-2702-45ED-8BF0-1FC64987B142}"/>
          </ac:cxnSpMkLst>
        </pc:cxnChg>
        <pc:cxnChg chg="del mod">
          <ac:chgData name="Sherry Vasquez" userId="b9e7f3378a8ce77e" providerId="LiveId" clId="{9EA3F777-A461-4B6E-8E5C-2DE0D845E347}" dt="2021-10-01T16:25:26.456" v="216" actId="478"/>
          <ac:cxnSpMkLst>
            <pc:docMk/>
            <pc:sldMk cId="2825041569" sldId="393"/>
            <ac:cxnSpMk id="37" creationId="{0E7F1FB9-82A8-41B5-A6B4-107B1DC816C8}"/>
          </ac:cxnSpMkLst>
        </pc:cxnChg>
        <pc:cxnChg chg="del mod">
          <ac:chgData name="Sherry Vasquez" userId="b9e7f3378a8ce77e" providerId="LiveId" clId="{9EA3F777-A461-4B6E-8E5C-2DE0D845E347}" dt="2021-10-01T16:25:24.138" v="215" actId="478"/>
          <ac:cxnSpMkLst>
            <pc:docMk/>
            <pc:sldMk cId="2825041569" sldId="393"/>
            <ac:cxnSpMk id="39" creationId="{E91D55F3-BDB0-435E-802F-ACA65656CE4C}"/>
          </ac:cxnSpMkLst>
        </pc:cxnChg>
        <pc:cxnChg chg="add mod">
          <ac:chgData name="Sherry Vasquez" userId="b9e7f3378a8ce77e" providerId="LiveId" clId="{9EA3F777-A461-4B6E-8E5C-2DE0D845E347}" dt="2021-10-01T16:33:14.267" v="597" actId="1076"/>
          <ac:cxnSpMkLst>
            <pc:docMk/>
            <pc:sldMk cId="2825041569" sldId="393"/>
            <ac:cxnSpMk id="56" creationId="{7ABDC997-7258-4D22-A1F8-5D91B2D7BCC7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/10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Fetch Table Join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14326" y="271297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o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633357" y="1790824"/>
            <a:ext cx="1490968" cy="50872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Barcod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4880851"/>
            <a:ext cx="1517650" cy="59702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100" b="1" dirty="0">
                <a:solidFill>
                  <a:srgbClr val="FF0000"/>
                </a:solidFill>
              </a:rPr>
              <a:t>Nam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23947" y="2570365"/>
            <a:ext cx="1517650" cy="46111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Brand</a:t>
            </a:r>
          </a:p>
          <a:p>
            <a:pPr algn="ctr"/>
            <a:r>
              <a:rPr lang="en-AU" sz="1050" b="1" dirty="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395" y="176406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Bonus Points Earned Reason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Brand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Receip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20016" y="3258247"/>
            <a:ext cx="1544332" cy="59702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Categor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Points Earn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5" y="283104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Reward Receipt Statu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5" y="333821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rgbClr val="FF0000"/>
                </a:solidFill>
              </a:rPr>
              <a:t>Total Sp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4" y="390844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tx1"/>
                </a:solidFill>
              </a:rPr>
              <a:t>User Id</a:t>
            </a:r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4" y="441561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b="1" dirty="0">
                <a:solidFill>
                  <a:srgbClr val="FF0000"/>
                </a:solidFill>
              </a:rPr>
              <a:t>Bonus Points Earned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tx1"/>
                </a:solidFill>
              </a:rPr>
              <a:t>Purchased Item Count</a:t>
            </a:r>
            <a:endParaRPr lang="en-AU" sz="9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3" y="538789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Number of Records Per Receip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44EAD5-4955-404D-9699-D296FAC46CDA}"/>
              </a:ext>
            </a:extLst>
          </p:cNvPr>
          <p:cNvSpPr txBox="1"/>
          <p:nvPr/>
        </p:nvSpPr>
        <p:spPr>
          <a:xfrm>
            <a:off x="330200" y="479190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User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58BAEE-7817-4534-AE13-03D3F03FEC4C}"/>
              </a:ext>
            </a:extLst>
          </p:cNvPr>
          <p:cNvSpPr/>
          <p:nvPr/>
        </p:nvSpPr>
        <p:spPr>
          <a:xfrm>
            <a:off x="327455" y="89674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Document Index Generate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CE3FF6-2DFD-40B0-87A4-A9A5486FB04B}"/>
              </a:ext>
            </a:extLst>
          </p:cNvPr>
          <p:cNvSpPr/>
          <p:nvPr/>
        </p:nvSpPr>
        <p:spPr>
          <a:xfrm>
            <a:off x="325438" y="1794652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rgbClr val="FF0000"/>
                </a:solidFill>
              </a:rPr>
              <a:t>Activ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956AD49-1A22-400A-B77B-3EB3815CFDE5}"/>
              </a:ext>
            </a:extLst>
          </p:cNvPr>
          <p:cNvSpPr/>
          <p:nvPr/>
        </p:nvSpPr>
        <p:spPr>
          <a:xfrm>
            <a:off x="340335" y="36141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Sign Up Sour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EBAD952-57D6-4CE7-AF37-7FE2FF097E77}"/>
              </a:ext>
            </a:extLst>
          </p:cNvPr>
          <p:cNvSpPr/>
          <p:nvPr/>
        </p:nvSpPr>
        <p:spPr>
          <a:xfrm>
            <a:off x="325438" y="4468162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Stat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0D64688-D716-4A75-9B81-5387B95CF710}"/>
              </a:ext>
            </a:extLst>
          </p:cNvPr>
          <p:cNvSpPr/>
          <p:nvPr/>
        </p:nvSpPr>
        <p:spPr>
          <a:xfrm>
            <a:off x="2633357" y="88332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Document Index Generate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B449628-E73F-47D5-A1E5-6CBBF72ED028}"/>
              </a:ext>
            </a:extLst>
          </p:cNvPr>
          <p:cNvSpPr/>
          <p:nvPr/>
        </p:nvSpPr>
        <p:spPr>
          <a:xfrm>
            <a:off x="4978395" y="84010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Document Index Generated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3AB2488-3E3E-4811-A8A6-51DDB0B632A4}"/>
              </a:ext>
            </a:extLst>
          </p:cNvPr>
          <p:cNvSpPr/>
          <p:nvPr/>
        </p:nvSpPr>
        <p:spPr>
          <a:xfrm>
            <a:off x="2606675" y="4083912"/>
            <a:ext cx="1534922" cy="59702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Category Cod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043171E-7BEB-4296-8CCD-7ED8B8F60E7C}"/>
              </a:ext>
            </a:extLst>
          </p:cNvPr>
          <p:cNvSpPr/>
          <p:nvPr/>
        </p:nvSpPr>
        <p:spPr>
          <a:xfrm>
            <a:off x="2606675" y="5655282"/>
            <a:ext cx="1517650" cy="59702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tx1"/>
                </a:solidFill>
              </a:rPr>
              <a:t>Top Bra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59EC344-8AC7-47F5-BB08-FE48A81F978C}"/>
              </a:ext>
            </a:extLst>
          </p:cNvPr>
          <p:cNvCxnSpPr>
            <a:cxnSpLocks/>
          </p:cNvCxnSpPr>
          <p:nvPr/>
        </p:nvCxnSpPr>
        <p:spPr>
          <a:xfrm flipH="1" flipV="1">
            <a:off x="4164348" y="1220935"/>
            <a:ext cx="814050" cy="1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7ABDC997-7258-4D22-A1F8-5D91B2D7BCC7}"/>
              </a:ext>
            </a:extLst>
          </p:cNvPr>
          <p:cNvCxnSpPr>
            <a:cxnSpLocks/>
          </p:cNvCxnSpPr>
          <p:nvPr/>
        </p:nvCxnSpPr>
        <p:spPr>
          <a:xfrm flipH="1" flipV="1">
            <a:off x="1832009" y="1220935"/>
            <a:ext cx="814050" cy="1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2F798F7-D91C-4243-8A78-F57A3845FB82}"/>
              </a:ext>
            </a:extLst>
          </p:cNvPr>
          <p:cNvSpPr txBox="1"/>
          <p:nvPr/>
        </p:nvSpPr>
        <p:spPr>
          <a:xfrm>
            <a:off x="1225550" y="6330934"/>
            <a:ext cx="6404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are the top names consumers are earning rewards on?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438F9203629848BE1FE651FDC27085" ma:contentTypeVersion="2" ma:contentTypeDescription="Create a new document." ma:contentTypeScope="" ma:versionID="08f7bdaeda2da2d1c698a02019ee0024">
  <xsd:schema xmlns:xsd="http://www.w3.org/2001/XMLSchema" xmlns:xs="http://www.w3.org/2001/XMLSchema" xmlns:p="http://schemas.microsoft.com/office/2006/metadata/properties" xmlns:ns3="6991cd06-1ac1-4c12-9a3d-242ce8dffd34" targetNamespace="http://schemas.microsoft.com/office/2006/metadata/properties" ma:root="true" ma:fieldsID="e2fdd5a6264e2b628cdcf1159ac7784a" ns3:_="">
    <xsd:import namespace="6991cd06-1ac1-4c12-9a3d-242ce8dffd3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91cd06-1ac1-4c12-9a3d-242ce8dffd3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094640-05AF-487F-97C8-C8697269BF6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0FDB2F9-3614-429A-9E90-E05C600279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91cd06-1ac1-4c12-9a3d-242ce8dffd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1E95CE4-B256-4B16-9A64-0E55F1E9591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38</TotalTime>
  <Words>66</Words>
  <Application>Microsoft Office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Fetch Table Joi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herry Vasquez</cp:lastModifiedBy>
  <cp:revision>37</cp:revision>
  <dcterms:created xsi:type="dcterms:W3CDTF">2020-04-12T13:23:13Z</dcterms:created>
  <dcterms:modified xsi:type="dcterms:W3CDTF">2021-10-01T16:4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438F9203629848BE1FE651FDC27085</vt:lpwstr>
  </property>
</Properties>
</file>